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handoutMasters/handoutMaster1.xml" ContentType="application/vnd.openxmlformats-officedocument.presentationml.handoutMaster+xml"/>
  <Override PartName="/ppt/media/media1.mp4" ContentType="video/mp4"/>
  <Override PartName="/ppt/media/media2.mp4" ContentType="video/mp4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 ?><Relationships xmlns="http://schemas.openxmlformats.org/package/2006/relationships"><Relationship Id="rId1" Type="http://schemas.openxmlformats.org/officeDocument/2006/relationships/officeDocument" Target="ppt/presentation.xml"  /><Relationship Id="rId2" Type="http://schemas.openxmlformats.org/package/2006/relationships/metadata/thumbnail" Target="docProps/thumbnail.jpeg"  /><Relationship Id="rId3" Type="http://schemas.openxmlformats.org/package/2006/relationships/metadata/core-properties" Target="docProps/core.xml"  /><Relationship Id="rId4" Type="http://schemas.openxmlformats.org/officeDocument/2006/relationships/extended-properties" Target="docProps/app.xml"  /></Relationships>
</file>

<file path=ppt/presentation.xml><?xml version="1.0" encoding="utf-8"?>
<p:presentation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ldMasterIdLst>
    <p:sldMasterId id="2147483777" r:id="rId1"/>
  </p:sldMasterIdLst>
  <p:notesMasterIdLst>
    <p:notesMasterId r:id="rId2"/>
  </p:notesMasterIdLst>
  <p:handoutMasterIdLst>
    <p:handoutMasterId r:id="rId3"/>
  </p:handout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showPr showNarration="1">
    <p:sldAll/>
    <p:penClr>
      <a:srgbClr val="ff0000"/>
    </p:penClr>
    <p:extLst>
      <p:ext uri="{2FDB2607-1784-4EEB-B798-7EB5836EED8A}">
        <p14:showMediaCtrls xmlns:p14="http://schemas.microsoft.com/office/powerpoint/2010/main" val="1"/>
      </p:ext>
    </p:extLst>
  </p:showPr>
  <p:extLst>
    <p:ext uri="ACF4677E-8BD2-47ae-8A1F-98590045965D">
      <hp:hncThemeShow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def="{5C22544A-7EE6-4342-B048-85BDC9FD1C3A}">
  <a:tblStyle styleId="{4BBA2D1F-E88D-431A-877F-97C11ED6EE09}" styleName="Light Style 3 - Body/Background 3">
    <a:wholeTbl>
      <a:tcTxStyle>
        <a:fontRef idx="minor">
          <a:scrgbClr r="0" g="0" b="0"/>
        </a:fontRef>
        <a:schemeClr val="tx1"/>
      </a:tcTxStyle>
      <a:tcStyle>
        <a:tcBdr>
          <a:left>
            <a:ln w="32700" cmpd="sng">
              <a:solidFill>
                <a:schemeClr val="dk1"/>
              </a:solidFill>
              <a:prstDash val="dash"/>
            </a:ln>
          </a:left>
          <a:right>
            <a:ln w="32700" cmpd="sng">
              <a:solidFill>
                <a:schemeClr val="dk1"/>
              </a:solidFill>
              <a:prstDash val="dash"/>
            </a:ln>
          </a:right>
          <a:top>
            <a:ln w="32700" cmpd="sng">
              <a:solidFill>
                <a:schemeClr val="dk1"/>
              </a:solidFill>
              <a:prstDash val="dash"/>
            </a:ln>
          </a:top>
          <a:bottom>
            <a:ln w="32700" cmpd="sng">
              <a:solidFill>
                <a:schemeClr val="dk1"/>
              </a:solidFill>
              <a:prstDash val="dash"/>
            </a:ln>
          </a:bottom>
          <a:insideH>
            <a:ln w="22700" cmpd="sng">
              <a:solidFill>
                <a:schemeClr val="dk1"/>
              </a:solidFill>
              <a:prstDash val="sysDot"/>
            </a:ln>
          </a:insideH>
          <a:insideV>
            <a:ln w="22700" cmpd="sng">
              <a:solidFill>
                <a:schemeClr val="dk1"/>
              </a:solidFill>
              <a:prstDash val="sysDot"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dk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sng">
              <a:solidFill>
                <a:schemeClr val="dk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C69FF03A-DF0C-4845-94BB-EF2385AD676B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2700" cmpd="sng">
              <a:solidFill>
                <a:schemeClr val="accent1"/>
              </a:solidFill>
            </a:ln>
          </a:top>
          <a:bottom>
            <a:ln w="2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 w="10000" cmpd="sng">
              <a:solidFill>
                <a:schemeClr val="accent1"/>
              </a:solidFill>
            </a:ln>
          </a:top>
          <a:bottom>
            <a:ln w="10000" cmpd="sng">
              <a:solidFill>
                <a:schemeClr val="accent1"/>
              </a:solidFill>
            </a:ln>
          </a:bottom>
        </a:tcBdr>
        <a:fill>
          <a:solidFill>
            <a:schemeClr val="accent1">
              <a:alpha val="20000"/>
              <a:tint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06F615A-370F-48FF-96DE-FFA2584FB0C5}" styleName="Light Style 2 - Body/Background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  <a:top>
            <a:lnRef idx="1">
              <a:schemeClr val="dk1"/>
            </a:lnRef>
          </a:top>
          <a:bottom>
            <a:lnRef idx="1">
              <a:schemeClr val="dk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Ref idx="1">
              <a:schemeClr val="dk1"/>
            </a:lnRef>
          </a:top>
          <a:bottom>
            <a:lnRef idx="1">
              <a:schemeClr val="dk1"/>
            </a:lnRef>
          </a:bottom>
        </a:tcBdr>
      </a:tcStyle>
    </a:band1H>
    <a:band1V>
      <a:tcTxStyle/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1V>
    <a:band2V>
      <a:tcTxStyle/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dk1"/>
      </a:tcTxStyle>
      <a:tcStyle>
        <a:tcBdr>
          <a:top>
            <a:ln w="60800" cmpd="dbl">
              <a:solidFill>
                <a:schemeClr val="dk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dk1">
          <a:shade val="40000"/>
        </a:schemeClr>
      </a:tcTxStyle>
      <a:tcStyle>
        <a:tcBdr/>
        <a:fill>
          <a:solidFill>
            <a:schemeClr val="dk1">
              <a:alpha val="40000"/>
            </a:schemeClr>
          </a:solidFill>
        </a:fill>
      </a:tcStyle>
    </a:firstRow>
  </a:tblStyle>
  <a:tblStyle styleId="{729D6073-5DEC-478E-BFBB-120F47F47B7E}" styleName="Light Style 1 - Body/Background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2700" cmpd="sng">
              <a:solidFill>
                <a:schemeClr val="dk1"/>
              </a:solidFill>
            </a:ln>
          </a:top>
          <a:bottom>
            <a:ln w="227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 w="10000" cmpd="sng">
              <a:solidFill>
                <a:schemeClr val="dk1"/>
              </a:solidFill>
            </a:ln>
          </a:top>
          <a:bottom>
            <a:ln w="10000" cmpd="sng">
              <a:solidFill>
                <a:schemeClr val="dk1"/>
              </a:solidFill>
            </a:ln>
          </a:bottom>
        </a:tcBdr>
        <a:fill>
          <a:solidFill>
            <a:schemeClr val="dk1">
              <a:alpha val="20000"/>
              <a:tint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dk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dbl">
              <a:solidFill>
                <a:schemeClr val="dk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270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F30E45CE-1E6F-404D-914F-DC5B132B5B5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32700" cmpd="sng">
              <a:solidFill>
                <a:schemeClr val="accent1"/>
              </a:solidFill>
              <a:prstDash val="dash"/>
            </a:ln>
          </a:left>
          <a:right>
            <a:ln w="32700" cmpd="sng">
              <a:solidFill>
                <a:schemeClr val="accent1"/>
              </a:solidFill>
              <a:prstDash val="dash"/>
            </a:ln>
          </a:right>
          <a:top>
            <a:ln w="32700" cmpd="sng">
              <a:solidFill>
                <a:schemeClr val="accent1"/>
              </a:solidFill>
              <a:prstDash val="dash"/>
            </a:ln>
          </a:top>
          <a:bottom>
            <a:ln w="32700" cmpd="sng">
              <a:solidFill>
                <a:schemeClr val="accent1"/>
              </a:solidFill>
              <a:prstDash val="dash"/>
            </a:ln>
          </a:bottom>
          <a:insideH>
            <a:ln w="22700" cmpd="sng">
              <a:solidFill>
                <a:schemeClr val="accent1"/>
              </a:solidFill>
              <a:prstDash val="sysDot"/>
            </a:ln>
          </a:insideH>
          <a:insideV>
            <a:ln w="22700" cmpd="sng">
              <a:solidFill>
                <a:schemeClr val="accent1"/>
              </a:solidFill>
              <a:prstDash val="sysDot"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1A66EDD-3DAB-4C5B-A090-DC80EC1FD486}" styleName="Normal Style 1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lum val="9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lum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lum val="8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F0A0EA-C916-463C-A3AD-4CCFBD9124EA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TxStyle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TxStyle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>
          <a:top>
            <a:ln w="6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accent1">
          <a:shade val="40000"/>
        </a:schemeClr>
      </a:tcTxStyle>
      <a:tcStyle>
        <a:tcBdr/>
        <a:fill>
          <a:solidFill>
            <a:schemeClr val="accent1">
              <a:alpha val="40000"/>
            </a:schemeClr>
          </a:solidFill>
        </a:fill>
      </a:tcStyle>
    </a:firstRow>
  </a:tblStyle>
</a:tblStyleLst>
</file>

<file path=ppt/viewProps.xml><?xml version="1.0" encoding="utf-8"?>
<p:viewP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normalViewPr>
    <p:restoredLeft sz="10781"/>
    <p:restoredTop sz="94660"/>
  </p:normalViewPr>
  <p:slideViewPr>
    <p:cSldViewPr>
      <p:cViewPr>
        <p:scale>
          <a:sx n="82" d="100"/>
          <a:sy n="82" d="100"/>
        </p:scale>
        <p:origin x="-1086" y="-102"/>
      </p:cViewPr>
      <p:guideLst>
        <p:guide orient="horz" pos="2157"/>
        <p:guide pos="287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 ?><Relationships xmlns="http://schemas.openxmlformats.org/package/2006/relationships"><Relationship Id="rId1" Type="http://schemas.openxmlformats.org/officeDocument/2006/relationships/slideMaster" Target="slideMasters/slideMaster1.xml"  /><Relationship Id="rId10" Type="http://schemas.openxmlformats.org/officeDocument/2006/relationships/slide" Target="slides/slide7.xml"  /><Relationship Id="rId11" Type="http://schemas.openxmlformats.org/officeDocument/2006/relationships/slide" Target="slides/slide8.xml"  /><Relationship Id="rId12" Type="http://schemas.openxmlformats.org/officeDocument/2006/relationships/slide" Target="slides/slide9.xml"  /><Relationship Id="rId13" Type="http://schemas.openxmlformats.org/officeDocument/2006/relationships/slide" Target="slides/slide10.xml"  /><Relationship Id="rId14" Type="http://schemas.openxmlformats.org/officeDocument/2006/relationships/slide" Target="slides/slide11.xml"  /><Relationship Id="rId15" Type="http://schemas.openxmlformats.org/officeDocument/2006/relationships/slide" Target="slides/slide12.xml"  /><Relationship Id="rId16" Type="http://schemas.openxmlformats.org/officeDocument/2006/relationships/presProps" Target="presProps.xml"  /><Relationship Id="rId17" Type="http://schemas.openxmlformats.org/officeDocument/2006/relationships/viewProps" Target="viewProps.xml"  /><Relationship Id="rId18" Type="http://schemas.openxmlformats.org/officeDocument/2006/relationships/theme" Target="theme/theme1.xml"  /><Relationship Id="rId19" Type="http://schemas.openxmlformats.org/officeDocument/2006/relationships/tableStyles" Target="tableStyles.xml"  /><Relationship Id="rId2" Type="http://schemas.openxmlformats.org/officeDocument/2006/relationships/notesMaster" Target="notesMasters/notesMaster1.xml"  /><Relationship Id="rId3" Type="http://schemas.openxmlformats.org/officeDocument/2006/relationships/handoutMaster" Target="handoutMasters/handoutMaster1.xml"  /><Relationship Id="rId4" Type="http://schemas.openxmlformats.org/officeDocument/2006/relationships/slide" Target="slides/slide1.xml"  /><Relationship Id="rId5" Type="http://schemas.openxmlformats.org/officeDocument/2006/relationships/slide" Target="slides/slide2.xml"  /><Relationship Id="rId6" Type="http://schemas.openxmlformats.org/officeDocument/2006/relationships/slide" Target="slides/slide3.xml"  /><Relationship Id="rId7" Type="http://schemas.openxmlformats.org/officeDocument/2006/relationships/slide" Target="slides/slide4.xml"  /><Relationship Id="rId8" Type="http://schemas.openxmlformats.org/officeDocument/2006/relationships/slide" Target="slides/slide5.xml"  /><Relationship Id="rId9" Type="http://schemas.openxmlformats.org/officeDocument/2006/relationships/slide" Target="slides/slide6.xml"  /></Relationships>
</file>

<file path=ppt/drawings/_rels/vmlDrawing1.vml.rels><?xml version="1.0" encoding="UTF-8" standalone="yes" ?><Relationships xmlns="http://schemas.openxmlformats.org/package/2006/relationships"><Relationship Id="rId1" Type="http://schemas.openxmlformats.org/officeDocument/2006/relationships/image" Target="../media/image1.emf"  /></Relationships>
</file>

<file path=ppt/drawings/_rels/vmlDrawing2.vml.rels><?xml version="1.0" encoding="UTF-8" standalone="yes" ?><Relationships xmlns="http://schemas.openxmlformats.org/package/2006/relationships"><Relationship Id="rId1" Type="http://schemas.openxmlformats.org/officeDocument/2006/relationships/image" Target="../media/image3.emf"  /></Relationships>
</file>

<file path=ppt/drawings/_rels/vmlDrawing3.vml.rels><?xml version="1.0" encoding="UTF-8" standalone="yes" ?><Relationships xmlns="http://schemas.openxmlformats.org/package/2006/relationships"><Relationship Id="rId1" Type="http://schemas.openxmlformats.org/officeDocument/2006/relationships/image" Target="../media/image13.emf"  /></Relationships>
</file>

<file path=ppt/handoutMasters/_rels/handout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3.xml"  /></Relationships>
</file>

<file path=ppt/handoutMasters/handoutMaster1.xml><?xml version="1.0" encoding="utf-8"?>
<p:handout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D8D7A7C4-C82A-4D21-9AB0-F0C5A1D3EF09}" type="datetime1">
              <a:rPr lang="ko-KR" altLang="en-US"/>
              <a:pPr lvl="0">
                <a:defRPr/>
              </a:pPr>
              <a:t>2020-10-0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F450E784-2449-4FFD-AA69-3F5CFAA75BCB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 ?><Relationships xmlns="http://schemas.openxmlformats.org/package/2006/relationships"><Relationship Id="rId1" Type="http://schemas.openxmlformats.org/officeDocument/2006/relationships/theme" Target="../theme/theme2.xml"  /></Relationships>
</file>

<file path=ppt/notesMasters/notesMaster1.xml><?xml version="1.0" encoding="utf-8"?>
<p:notes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 idx="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/>
          <a:lstStyle>
            <a:lvl1pPr algn="r">
              <a:defRPr sz="1200"/>
            </a:lvl1pPr>
          </a:lstStyle>
          <a:p>
            <a:pPr lvl="0">
              <a:defRPr/>
            </a:pPr>
            <a:fld id="{E2B2BC9D-A816-4D0A-858B-1D023B3A8ACA}" type="datetime1">
              <a:rPr lang="ko-KR" altLang="en-US"/>
              <a:pPr lvl="0">
                <a:defRPr/>
              </a:pPr>
              <a:t>2020-10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>
            <a:noAutofit/>
          </a:bodyPr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l">
              <a:defRPr sz="1200"/>
            </a:lvl1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anchor="b"/>
          <a:lstStyle>
            <a:lvl1pPr algn="r">
              <a:defRPr sz="1200"/>
            </a:lvl1pPr>
          </a:lstStyle>
          <a:p>
            <a:pPr lvl="0">
              <a:defRPr/>
            </a:pPr>
            <a:fld id="{09F4262C-968C-4EE9-8164-CE16364706B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j-lt"/>
        <a:ea typeface="+mj-ea"/>
        <a:cs typeface="+mj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1" Type="http://schemas.openxmlformats.org/officeDocument/2006/relationships/slide" Target="../slides/slide2.xml"  /><Relationship Id="rId2" Type="http://schemas.openxmlformats.org/officeDocument/2006/relationships/notesMaster" Target="../notesMasters/notesMaster1.xml"  /></Relationships>
</file>

<file path=ppt/notesSlides/_rels/notesSlide2.xml.rels><?xml version="1.0" encoding="UTF-8" standalone="yes" ?><Relationships xmlns="http://schemas.openxmlformats.org/package/2006/relationships"><Relationship Id="rId1" Type="http://schemas.openxmlformats.org/officeDocument/2006/relationships/slide" Target="../slides/slide10.xml"  /><Relationship Id="rId2" Type="http://schemas.openxmlformats.org/officeDocument/2006/relationships/notesMaster" Target="../notesMasters/notesMaster1.xml"  /></Relationships>
</file>

<file path=ppt/notesSlides/notesSlide1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2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3"/>
          <p:cNvSpPr>
            <a:spLocks noGrp="1" noRot="1" noChangeAspect="1" noTextEdit="1"/>
          </p:cNvSpPr>
          <p:nvPr>
            <p:ph type="sldImg" idx="2"/>
          </p:nvPr>
        </p:nvSpPr>
        <p:spPr/>
        <p:txBody>
          <a:bodyPr/>
          <a:lstStyle/>
          <a:p>
            <a:pPr>
              <a:defRPr/>
            </a:pPr>
            <a:endParaRPr lang="ko-KR" altLang="en-US"/>
          </a:p>
        </p:txBody>
      </p:sp>
      <p:sp>
        <p:nvSpPr>
          <p:cNvPr id="3" name="슬라이드 노트 개체 틀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슬라이드 번호 개체 틀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>
              <a:defRPr/>
            </a:pPr>
            <a:fld id="{09F4262C-968C-4EE9-8164-CE16364706B3}" type="slidenum">
              <a:rPr lang="en-US" altLang="en-US"/>
              <a:pPr lvl="0">
                <a:defRPr/>
              </a:pPr>
              <a:t>10</a:t>
            </a:fld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0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11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2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3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4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5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6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7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8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_rels/slideLayout9.xml.rels><?xml version="1.0" encoding="UTF-8" standalone="yes" ?><Relationships xmlns="http://schemas.openxmlformats.org/package/2006/relationships"><Relationship Id="rId1" Type="http://schemas.openxmlformats.org/officeDocument/2006/relationships/slideMaster" Target="../slideMasters/slideMaster1.xml"  /></Relationships>
</file>

<file path=ppt/slideLayouts/slideLayout1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 슬라이드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 idx="0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ko-KR" altLang="en-US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10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 및 세로 텍스트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11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세로 제목 및 텍스트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 idx="0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2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 및 내용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3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구역 머리글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4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콘텐츠 2개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5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비교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6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제목만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7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빈 화면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8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캡션 있는 콘텐츠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Layouts/slideLayout9.xml><?xml version="1.0" encoding="utf-8"?>
<p:sldLayout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 showMasterPhAnim="1" matchingName="캡션 있는 그림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idx="0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>
              <a:defRPr/>
            </a:pPr>
            <a:r>
              <a:rPr lang="ko-KR" altLang="en-US"/>
              <a:t/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ransition xmlns:mc="http://schemas.openxmlformats.org/markup-compatibility/2006" xmlns:hp="http://schemas.haansoft.com/office/presentation/8.0" mc:Ignorable="hp" hp:hslDur="500"/>
</p:sldLayout>
</file>

<file path=ppt/slideMasters/_rels/slideMaster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10" Type="http://schemas.openxmlformats.org/officeDocument/2006/relationships/slideLayout" Target="../slideLayouts/slideLayout10.xml"  /><Relationship Id="rId11" Type="http://schemas.openxmlformats.org/officeDocument/2006/relationships/slideLayout" Target="../slideLayouts/slideLayout11.xml"  /><Relationship Id="rId12" Type="http://schemas.openxmlformats.org/officeDocument/2006/relationships/theme" Target="../theme/theme1.xml"  /><Relationship Id="rId2" Type="http://schemas.openxmlformats.org/officeDocument/2006/relationships/slideLayout" Target="../slideLayouts/slideLayout2.xml"  /><Relationship Id="rId3" Type="http://schemas.openxmlformats.org/officeDocument/2006/relationships/slideLayout" Target="../slideLayouts/slideLayout3.xml"  /><Relationship Id="rId4" Type="http://schemas.openxmlformats.org/officeDocument/2006/relationships/slideLayout" Target="../slideLayouts/slideLayout4.xml"  /><Relationship Id="rId5" Type="http://schemas.openxmlformats.org/officeDocument/2006/relationships/slideLayout" Target="../slideLayouts/slideLayout5.xml"  /><Relationship Id="rId6" Type="http://schemas.openxmlformats.org/officeDocument/2006/relationships/slideLayout" Target="../slideLayouts/slideLayout6.xml"  /><Relationship Id="rId7" Type="http://schemas.openxmlformats.org/officeDocument/2006/relationships/slideLayout" Target="../slideLayouts/slideLayout7.xml"  /><Relationship Id="rId8" Type="http://schemas.openxmlformats.org/officeDocument/2006/relationships/slideLayout" Target="../slideLayouts/slideLayout8.xml"  /><Relationship Id="rId9" Type="http://schemas.openxmlformats.org/officeDocument/2006/relationships/slideLayout" Target="../slideLayouts/slideLayout9.xml"  /></Relationships>
</file>

<file path=ppt/slideMasters/slideMaster1.xml><?xml version="1.0" encoding="utf-8"?>
<p:sldMaster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 name="Office 테마">
    <p:bg>
      <p:bgPr shadeToTitle="0">
        <a:solidFill>
          <a:srgbClr val="aac3ee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 idx="0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/>
          <a:p>
            <a:pPr lvl="0">
              <a:defRPr/>
            </a:pPr>
            <a:r>
              <a:rPr lang="ko-KR" altLang="en-US"/>
              <a:t>마스터 텍스트 스타일을 편집합니다</a:t>
            </a:r>
            <a:endParaRPr lang="ko-KR" altLang="en-US"/>
          </a:p>
          <a:p>
            <a:pPr lvl="1">
              <a:defRPr/>
            </a:pPr>
            <a:r>
              <a:rPr lang="ko-KR" altLang="en-US"/>
              <a:t>둘째 수준</a:t>
            </a:r>
            <a:endParaRPr lang="ko-KR" altLang="en-US"/>
          </a:p>
          <a:p>
            <a:pPr lvl="2">
              <a:defRPr/>
            </a:pPr>
            <a:r>
              <a:rPr lang="ko-KR" altLang="en-US"/>
              <a:t>셋째 수준</a:t>
            </a:r>
            <a:endParaRPr lang="ko-KR" altLang="en-US"/>
          </a:p>
          <a:p>
            <a:pPr lvl="3">
              <a:defRPr/>
            </a:pPr>
            <a:r>
              <a:rPr lang="ko-KR" altLang="en-US"/>
              <a:t>넷째 수준</a:t>
            </a:r>
            <a:endParaRPr lang="ko-KR" altLang="en-US"/>
          </a:p>
          <a:p>
            <a:pPr lvl="4">
              <a:defRPr/>
            </a:pPr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>
              <a:defRPr/>
            </a:pPr>
            <a:fld id="{1F28EA8A-771C-4431-9C9A-E58993294323}" type="slidenum">
              <a:rPr lang="ko-KR" altLang="en-US"/>
              <a:pPr lvl="0"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ransition xmlns:mc="http://schemas.openxmlformats.org/markup-compatibility/2006" xmlns:hp="http://schemas.haansoft.com/office/presentation/8.0" mc:Ignorable="hp" hp:hslDur="500"/>
  <p:hf sldNum="0" hd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2" Type="http://schemas.openxmlformats.org/officeDocument/2006/relationships/vmlDrawing" Target="../drawings/vmlDrawing1.vml"  /><Relationship Id="rId3" Type="http://schemas.openxmlformats.org/officeDocument/2006/relationships/oleObject" Target="../embeddings/oleObject1.bin"  /><Relationship Id="rId4" Type="http://schemas.openxmlformats.org/officeDocument/2006/relationships/image" Target="../media/image2.png"  /></Relationships>
</file>

<file path=ppt/slides/_rels/slide10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2.xml"  /><Relationship Id="rId2" Type="http://schemas.openxmlformats.org/officeDocument/2006/relationships/slideLayout" Target="../slideLayouts/slideLayout7.xml"  /><Relationship Id="rId3" Type="http://schemas.openxmlformats.org/officeDocument/2006/relationships/image" Target="../media/image2.png"  /><Relationship Id="rId4" Type="http://schemas.openxmlformats.org/officeDocument/2006/relationships/image" Target="../media/image11.png"  /></Relationships>
</file>

<file path=ppt/slides/_rels/slide11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Relationship Id="rId3" Type="http://schemas.openxmlformats.org/officeDocument/2006/relationships/video" Target="../media/media1.mp4"  /><Relationship Id="rId4" Type="http://schemas.microsoft.com/office/2007/relationships/media" Target="../media/media2.mp4"  /><Relationship Id="rId5" Type="http://schemas.openxmlformats.org/officeDocument/2006/relationships/image" Target="../media/image12.png"  /></Relationships>
</file>

<file path=ppt/slides/_rels/slide12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1.xml"  /><Relationship Id="rId2" Type="http://schemas.openxmlformats.org/officeDocument/2006/relationships/vmlDrawing" Target="../drawings/vmlDrawing3.vml"  /><Relationship Id="rId3" Type="http://schemas.openxmlformats.org/officeDocument/2006/relationships/oleObject" Target="../embeddings/oleObject3.bin"  /><Relationship Id="rId4" Type="http://schemas.openxmlformats.org/officeDocument/2006/relationships/image" Target="../media/image2.png"  /></Relationships>
</file>

<file path=ppt/slides/_rels/slide2.xml.rels><?xml version="1.0" encoding="UTF-8" standalone="yes" ?><Relationships xmlns="http://schemas.openxmlformats.org/package/2006/relationships"><Relationship Id="rId1" Type="http://schemas.openxmlformats.org/officeDocument/2006/relationships/notesSlide" Target="../notesSlides/notesSlide1.xml"  /><Relationship Id="rId2" Type="http://schemas.openxmlformats.org/officeDocument/2006/relationships/slideLayout" Target="../slideLayouts/slideLayout1.xml"  /><Relationship Id="rId3" Type="http://schemas.openxmlformats.org/officeDocument/2006/relationships/vmlDrawing" Target="../drawings/vmlDrawing2.vml"  /><Relationship Id="rId4" Type="http://schemas.openxmlformats.org/officeDocument/2006/relationships/oleObject" Target="../embeddings/oleObject2.bin"  /><Relationship Id="rId5" Type="http://schemas.openxmlformats.org/officeDocument/2006/relationships/image" Target="../media/image2.png"  /></Relationships>
</file>

<file path=ppt/slides/_rels/slide3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/Relationships>
</file>

<file path=ppt/slides/_rels/slide4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/Relationships>
</file>

<file path=ppt/slides/_rels/slide5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Relationship Id="rId3" Type="http://schemas.openxmlformats.org/officeDocument/2006/relationships/image" Target="../media/image4.png"  /></Relationships>
</file>

<file path=ppt/slides/_rels/slide6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Relationship Id="rId3" Type="http://schemas.openxmlformats.org/officeDocument/2006/relationships/image" Target="../media/image5.png"  /><Relationship Id="rId4" Type="http://schemas.openxmlformats.org/officeDocument/2006/relationships/image" Target="../media/image6.png"  /></Relationships>
</file>

<file path=ppt/slides/_rels/slide7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Relationship Id="rId3" Type="http://schemas.openxmlformats.org/officeDocument/2006/relationships/image" Target="../media/image7.png"  /><Relationship Id="rId4" Type="http://schemas.openxmlformats.org/officeDocument/2006/relationships/image" Target="../media/image8.png"  /></Relationships>
</file>

<file path=ppt/slides/_rels/slide8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Relationship Id="rId3" Type="http://schemas.openxmlformats.org/officeDocument/2006/relationships/image" Target="../media/image9.png"  /></Relationships>
</file>

<file path=ppt/slides/_rels/slide9.xml.rels><?xml version="1.0" encoding="UTF-8" standalone="yes" ?><Relationships xmlns="http://schemas.openxmlformats.org/package/2006/relationships"><Relationship Id="rId1" Type="http://schemas.openxmlformats.org/officeDocument/2006/relationships/slideLayout" Target="../slideLayouts/slideLayout7.xml"  /><Relationship Id="rId2" Type="http://schemas.openxmlformats.org/officeDocument/2006/relationships/image" Target="../media/image2.png"  /><Relationship Id="rId3" Type="http://schemas.openxmlformats.org/officeDocument/2006/relationships/image" Target="../media/image10.png"  /></Relationships>
</file>

<file path=ppt/slides/slide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0" name="think-cell Slide" r:id="rId3" imgW="592" imgH="591" progId="TCLayout.ActiveDocument.1">
              <p:embed/>
            </p:oleObj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115614" y="1628800"/>
            <a:ext cx="6912770" cy="8530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50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게임 분석</a:t>
            </a:r>
            <a:endParaRPr lang="ko-KR" altLang="en-US" sz="50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26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>
                <a:latin typeface="경기천년제목OTF Light"/>
                <a:ea typeface="경기천년제목OTF Light"/>
              </a:rPr>
              <a:t>2020-10-05</a:t>
            </a:r>
            <a:endParaRPr lang="ko-KR" altLang="en-US">
              <a:latin typeface="경기천년제목OTF Light"/>
              <a:ea typeface="경기천년제목OTF Light"/>
            </a:endParaRPr>
          </a:p>
        </p:txBody>
      </p:sp>
      <p:sp>
        <p:nvSpPr>
          <p:cNvPr id="32" name="바닥글 개체 틀 4"/>
          <p:cNvSpPr/>
          <p:nvPr/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anchor="ctr"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1200" b="0" i="0" u="none" strike="noStrike" kern="1200" cap="none" spc="0" normalizeH="0" baseline="0" mc:Ignorable="hp" hp:hslEmbossed="0">
                <a:solidFill>
                  <a:srgbClr val="8c8c8c"/>
                </a:solidFill>
                <a:latin typeface="경기천년제목OTF Light"/>
                <a:ea typeface="경기천년제목OTF Light"/>
              </a:rPr>
              <a:t>게임프로그래밍</a:t>
            </a:r>
            <a:endParaRPr xmlns:mc="http://schemas.openxmlformats.org/markup-compatibility/2006" xmlns:hp="http://schemas.haansoft.com/office/presentation/8.0" kumimoji="0" lang="ko-KR" altLang="en-US" sz="1200" b="0" i="0" u="none" strike="noStrike" kern="1200" cap="none" spc="0" normalizeH="0" baseline="0" mc:Ignorable="hp" hp:hslEmbossed="0">
              <a:solidFill>
                <a:srgbClr val="8c8c8c"/>
              </a:solidFill>
              <a:latin typeface="경기천년제목OTF Light"/>
              <a:ea typeface="경기천년제목OTF Light"/>
            </a:endParaRPr>
          </a:p>
        </p:txBody>
      </p:sp>
      <p:pic>
        <p:nvPicPr>
          <p:cNvPr id="33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10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03</a:t>
            </a:r>
            <a:endParaRPr lang="en-US" altLang="ko-KR" sz="47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11757" y="0"/>
            <a:ext cx="67687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나눔스퀘어라운드OTF Bold"/>
                <a:ea typeface="나눔스퀘어라운드OTF Bold"/>
              </a:rPr>
              <a:t>프로그램 작성과 완성 </a:t>
            </a:r>
            <a:endParaRPr lang="ko-KR" altLang="en-US" sz="4700">
              <a:solidFill>
                <a:schemeClr val="tx1"/>
              </a:solidFill>
              <a:latin typeface="나눔스퀘어라운드OTF Bold"/>
              <a:ea typeface="나눔스퀘어라운드OTF Bold"/>
            </a:endParaRPr>
          </a:p>
        </p:txBody>
      </p:sp>
      <p:pic>
        <p:nvPicPr>
          <p:cNvPr id="18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pic>
        <p:nvPicPr>
          <p:cNvPr id="23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251520" y="892900"/>
            <a:ext cx="6624736" cy="5712798"/>
          </a:xfrm>
          <a:prstGeom prst="rect">
            <a:avLst/>
          </a:prstGeom>
        </p:spPr>
      </p:pic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26" name=""/>
          <p:cNvSpPr/>
          <p:nvPr/>
        </p:nvSpPr>
        <p:spPr>
          <a:xfrm>
            <a:off x="1115616" y="3212976"/>
            <a:ext cx="5760640" cy="432048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5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7" name=""/>
          <p:cNvSpPr/>
          <p:nvPr/>
        </p:nvSpPr>
        <p:spPr>
          <a:xfrm>
            <a:off x="251520" y="908720"/>
            <a:ext cx="6264696" cy="144016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5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8" name=""/>
          <p:cNvSpPr/>
          <p:nvPr/>
        </p:nvSpPr>
        <p:spPr>
          <a:xfrm>
            <a:off x="1115616" y="4581128"/>
            <a:ext cx="3672408" cy="360040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500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9" name=""/>
          <p:cNvSpPr/>
          <p:nvPr/>
        </p:nvSpPr>
        <p:spPr>
          <a:xfrm>
            <a:off x="467544" y="5445224"/>
            <a:ext cx="5472608" cy="1008112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498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30" name=""/>
          <p:cNvSpPr/>
          <p:nvPr/>
        </p:nvSpPr>
        <p:spPr>
          <a:xfrm>
            <a:off x="403920" y="1268760"/>
            <a:ext cx="3520007" cy="144016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498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0" grpId="1" animBg="1"/>
      <p:bldP spid="28" grpId="2" animBg="1"/>
      <p:bldP spid="29" grpId="3" animBg="1"/>
      <p:bldP spid="26" grpId="4" animBg="1"/>
    </p:bldLst>
  </p:timing>
</p:sld>
</file>

<file path=ppt/slides/slide11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04</a:t>
            </a:r>
            <a:endParaRPr lang="en-US" altLang="ko-KR" sz="47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47664" y="0"/>
            <a:ext cx="7632848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나눔스퀘어라운드OTF Bold"/>
                <a:ea typeface="나눔스퀘어라운드OTF Bold"/>
              </a:rPr>
              <a:t>프로그램 실행과 문서화</a:t>
            </a:r>
            <a:endParaRPr lang="ko-KR" altLang="en-US" sz="4700">
              <a:solidFill>
                <a:schemeClr val="tx1"/>
              </a:solidFill>
              <a:latin typeface="나눔스퀘어라운드OTF Bold"/>
              <a:ea typeface="나눔스퀘어라운드OTF Bold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pic>
        <p:nvPicPr>
          <p:cNvPr id="21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pic>
        <p:nvPicPr>
          <p:cNvPr id="22" name="녹화_2020_10_03_03_21_13_527.mp4">
            <a:hlinkClick r:id="" action="ppaction://media"/>
          </p:cNvPr>
          <p:cNvPicPr>
            <a:picLocks noRot="1"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 rotWithShape="1">
          <a:blip r:embed="rId5"/>
          <a:stretch>
            <a:fillRect/>
          </a:stretch>
        </p:blipFill>
        <p:spPr>
          <a:xfrm>
            <a:off x="2286000" y="1143000"/>
            <a:ext cx="4572000" cy="457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/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27467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2"/>
                </p:tgtEl>
              </p:cMediaNode>
            </p:video>
          </p:childTnLst>
        </p:cTn>
      </p:par>
    </p:tnLst>
  </p:timing>
</p:sld>
</file>

<file path=ppt/slides/slide1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3" imgW="592" imgH="591" progId="TCLayout.ActiveDocument.1">
              <p:embed/>
            </p:oleObj>
          </a:graphicData>
        </a:graphic>
      </p:graphicFrame>
      <p:sp>
        <p:nvSpPr>
          <p:cNvPr id="7" name="AutoShape 8" descr="Image result for 공단기"/>
          <p:cNvSpPr>
            <a:spLocks noChangeAspect="1" noChangeArrowheads="1"/>
          </p:cNvSpPr>
          <p:nvPr/>
        </p:nvSpPr>
        <p:spPr>
          <a:xfrm>
            <a:off x="1682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8" name="AutoShape 10" descr="Image result for 공단기"/>
          <p:cNvSpPr>
            <a:spLocks noChangeAspect="1" noChangeArrowheads="1"/>
          </p:cNvSpPr>
          <p:nvPr/>
        </p:nvSpPr>
        <p:spPr>
          <a:xfrm>
            <a:off x="320675" y="79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9" name="AutoShape 12" descr="Image result for 공단기"/>
          <p:cNvSpPr>
            <a:spLocks noChangeAspect="1" noChangeArrowheads="1"/>
          </p:cNvSpPr>
          <p:nvPr/>
        </p:nvSpPr>
        <p:spPr>
          <a:xfrm>
            <a:off x="473075" y="1603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1618392" y="2420888"/>
            <a:ext cx="5904656" cy="901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5400">
                <a:latin typeface="Sandoll 고딕NeoRound 05 Md"/>
                <a:ea typeface="Sandoll 고딕NeoRound 05 Md"/>
              </a:rPr>
              <a:t>감사합니다</a:t>
            </a:r>
            <a:endParaRPr lang="ko-KR" altLang="en-US" sz="4500">
              <a:latin typeface="Sandoll 고딕NeoRound 05 Md"/>
              <a:ea typeface="Sandoll 고딕NeoRound 05 Md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777882" y="4106238"/>
            <a:ext cx="3666326" cy="511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28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QnA</a:t>
            </a:r>
            <a:endParaRPr lang="ko-KR" altLang="en-US" sz="28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2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2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pic>
        <p:nvPicPr>
          <p:cNvPr id="27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2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Select="1"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5" name="think-cell Slide" r:id="rId4" imgW="592" imgH="591" progId="TCLayout.ActiveDocument.1">
              <p:embed/>
            </p:oleObj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120083" y="620688"/>
            <a:ext cx="2903834" cy="768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45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Contents</a:t>
            </a:r>
            <a:endParaRPr lang="ko-KR" altLang="en-US" sz="45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47850" y="2236827"/>
            <a:ext cx="3956198" cy="471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문제 분석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47850" y="2988528"/>
            <a:ext cx="3956198" cy="472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프로그램 명세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7850" y="3676987"/>
            <a:ext cx="3956198" cy="470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프로그램 작성과 완성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47850" y="4397067"/>
            <a:ext cx="3956198" cy="472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경기천년제목OTF Light"/>
                <a:ea typeface="경기천년제목OTF Light"/>
              </a:rPr>
              <a:t>프로그램의 실행과 문서화</a:t>
            </a:r>
            <a:endParaRPr lang="ko-KR" altLang="en-US" sz="2500">
              <a:latin typeface="경기천년제목OTF Light"/>
              <a:ea typeface="경기천년제목OTF Light"/>
            </a:endParaRPr>
          </a:p>
        </p:txBody>
      </p:sp>
      <p:sp>
        <p:nvSpPr>
          <p:cNvPr id="36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>
                <a:latin typeface="경기천년제목OTF Light"/>
                <a:ea typeface="경기천년제목OTF Light"/>
              </a:rPr>
              <a:t>2020-10-05</a:t>
            </a:r>
            <a:endParaRPr lang="ko-KR" altLang="en-US">
              <a:latin typeface="경기천년제목OTF Light"/>
              <a:ea typeface="경기천년제목OTF Light"/>
            </a:endParaRPr>
          </a:p>
        </p:txBody>
      </p:sp>
      <p:sp>
        <p:nvSpPr>
          <p:cNvPr id="37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>
                <a:latin typeface="경기천년제목OTF Light"/>
                <a:ea typeface="경기천년제목OTF Light"/>
              </a:rPr>
              <a:t>게임프로그래밍</a:t>
            </a:r>
            <a:endParaRPr lang="ko-KR" altLang="en-US">
              <a:latin typeface="경기천년제목OTF Light"/>
              <a:ea typeface="경기천년제목OTF Light"/>
            </a:endParaRPr>
          </a:p>
        </p:txBody>
      </p:sp>
      <p:pic>
        <p:nvPicPr>
          <p:cNvPr id="42" name="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3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1</a:t>
            </a:r>
            <a:endParaRPr lang="ko-KR" altLang="en-US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문제 분석</a:t>
            </a:r>
            <a:endParaRPr lang="ko-KR" altLang="en-US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>
                <a:latin typeface="경기천년제목OTF Light"/>
                <a:ea typeface="경기천년제목OTF Light"/>
              </a:rPr>
              <a:t>2020-10-05</a:t>
            </a:r>
            <a:endParaRPr lang="ko-KR" altLang="en-US">
              <a:latin typeface="경기천년제목OTF Light"/>
              <a:ea typeface="경기천년제목OTF Light"/>
            </a:endParaRPr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>
                <a:latin typeface="경기천년제목OTF Light"/>
                <a:ea typeface="경기천년제목OTF Light"/>
              </a:rPr>
              <a:t>게임프로그래밍</a:t>
            </a:r>
            <a:endParaRPr lang="ko-KR" altLang="en-US">
              <a:latin typeface="경기천년제목OTF Light"/>
              <a:ea typeface="경기천년제목OTF Light"/>
            </a:endParaRPr>
          </a:p>
        </p:txBody>
      </p:sp>
      <p:sp>
        <p:nvSpPr>
          <p:cNvPr id="19" name=""/>
          <p:cNvSpPr txBox="1"/>
          <p:nvPr/>
        </p:nvSpPr>
        <p:spPr>
          <a:xfrm>
            <a:off x="611560" y="2150750"/>
            <a:ext cx="7920880" cy="447670"/>
          </a:xfrm>
          <a:prstGeom prst="rect">
            <a:avLst/>
          </a:prstGeom>
        </p:spPr>
        <p:txBody>
          <a:bodyPr wrap="square">
            <a:spAutoFit/>
          </a:bodyPr>
          <a:p>
            <a:pPr>
              <a:defRPr/>
            </a:pPr>
            <a:r>
              <a:rPr lang="ko-KR" altLang="en-US" sz="2400">
                <a:solidFill>
                  <a:schemeClr val="dk1"/>
                </a:solidFill>
                <a:latin typeface="경기천년제목OTF Light"/>
                <a:ea typeface="경기천년제목OTF Light"/>
                <a:cs typeface="함초롬돋움"/>
              </a:rPr>
              <a:t>게임 </a:t>
            </a:r>
            <a:r>
              <a:rPr lang="en-US" altLang="ko-KR" sz="2400">
                <a:solidFill>
                  <a:schemeClr val="dk1"/>
                </a:solidFill>
                <a:latin typeface="경기천년제목OTF Light"/>
                <a:ea typeface="경기천년제목OTF Light"/>
                <a:cs typeface="함초롬돋움"/>
              </a:rPr>
              <a:t>:</a:t>
            </a:r>
            <a:r>
              <a:rPr lang="ko-KR" altLang="en-US" sz="2400">
                <a:solidFill>
                  <a:schemeClr val="dk1"/>
                </a:solidFill>
                <a:latin typeface="경기천년제목OTF Light"/>
                <a:ea typeface="경기천년제목OTF Light"/>
                <a:cs typeface="함초롬돋움"/>
              </a:rPr>
              <a:t> 보물찾기 </a:t>
            </a:r>
            <a:endParaRPr lang="ko-KR" altLang="en-US" sz="2400">
              <a:solidFill>
                <a:schemeClr val="dk1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sp>
        <p:nvSpPr>
          <p:cNvPr id="21" name=""/>
          <p:cNvSpPr txBox="1"/>
          <p:nvPr/>
        </p:nvSpPr>
        <p:spPr>
          <a:xfrm>
            <a:off x="611560" y="2798822"/>
            <a:ext cx="7920880" cy="447298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입력 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방향키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sp>
        <p:nvSpPr>
          <p:cNvPr id="22" name=""/>
          <p:cNvSpPr txBox="1"/>
          <p:nvPr/>
        </p:nvSpPr>
        <p:spPr>
          <a:xfrm>
            <a:off x="611560" y="3429000"/>
            <a:ext cx="7920880" cy="445770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출력 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이동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빈 네모칸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보물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폭탄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sp>
        <p:nvSpPr>
          <p:cNvPr id="23" name=""/>
          <p:cNvSpPr txBox="1"/>
          <p:nvPr/>
        </p:nvSpPr>
        <p:spPr>
          <a:xfrm>
            <a:off x="611559" y="4437112"/>
            <a:ext cx="7920880" cy="1180733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개선 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: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게임 실행 키 지정 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(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엔터키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)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        폭탄 발견 시 시간 추가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안내메시지 출력 후 사라짐</a:t>
            </a:r>
            <a:r>
              <a: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,</a:t>
            </a:r>
            <a:endParaRPr xmlns:mc="http://schemas.openxmlformats.org/markup-compatibility/2006" xmlns:hp="http://schemas.haansoft.com/office/presentation/8.0" kumimoji="0" lang="en-US" altLang="ko-KR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        발견한 폭탄의 갯수를 알려주는 출력문 추가 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pic>
        <p:nvPicPr>
          <p:cNvPr id="24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4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02</a:t>
            </a:r>
            <a:endParaRPr lang="en-US" altLang="ko-KR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52466" y="0"/>
            <a:ext cx="5928046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경기천년제목OTF Light"/>
                <a:ea typeface="경기천년제목OTF Light"/>
              </a:rPr>
              <a:t>프로그램 명세</a:t>
            </a:r>
            <a:endParaRPr lang="ko-KR" altLang="en-US" sz="4700">
              <a:solidFill>
                <a:schemeClr val="tx1"/>
              </a:solidFill>
              <a:latin typeface="경기천년제목OTF Light"/>
              <a:ea typeface="경기천년제목OTF Light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>
                <a:latin typeface="경기천년제목OTF Light"/>
                <a:ea typeface="경기천년제목OTF Light"/>
              </a:rPr>
              <a:t>2020-10-05</a:t>
            </a:r>
            <a:endParaRPr lang="ko-KR" altLang="en-US">
              <a:latin typeface="경기천년제목OTF Light"/>
              <a:ea typeface="경기천년제목OTF Light"/>
            </a:endParaRPr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>
                <a:latin typeface="경기천년제목OTF Light"/>
                <a:ea typeface="경기천년제목OTF Light"/>
              </a:rPr>
              <a:t>게임프로그래밍</a:t>
            </a:r>
            <a:endParaRPr lang="ko-KR" altLang="en-US">
              <a:latin typeface="경기천년제목OTF Light"/>
              <a:ea typeface="경기천년제목OTF Light"/>
            </a:endParaRPr>
          </a:p>
        </p:txBody>
      </p:sp>
      <p:graphicFrame>
        <p:nvGraphicFramePr>
          <p:cNvPr id="21" name=""/>
          <p:cNvGraphicFramePr>
            <a:graphicFrameLocks noGrp="1"/>
          </p:cNvGraphicFramePr>
          <p:nvPr/>
        </p:nvGraphicFramePr>
        <p:xfrm>
          <a:off x="320450" y="1364179"/>
          <a:ext cx="8500110" cy="4206631"/>
        </p:xfrm>
        <a:graphic>
          <a:graphicData uri="http://schemas.openxmlformats.org/drawingml/2006/table">
            <a:tbl>
              <a:tblPr firstRow="1" bandRow="1">
                <a:tableStyleId>{C69FF03A-DF0C-4845-94BB-EF2385AD676B}</a:tableStyleId>
              </a:tblPr>
              <a:tblGrid>
                <a:gridCol w="2091310"/>
                <a:gridCol w="6408800"/>
              </a:tblGrid>
              <a:tr h="440559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 b="0">
                          <a:latin typeface="경기천년제목OTF Light"/>
                          <a:ea typeface="경기천년제목OTF Light"/>
                          <a:cs typeface="함초롬돋움"/>
                        </a:rPr>
                        <a:t>함수</a:t>
                      </a:r>
                      <a:endParaRPr lang="ko-KR" altLang="en-US" sz="2000" b="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 b="0">
                          <a:latin typeface="경기천년제목OTF Light"/>
                          <a:ea typeface="경기천년제목OTF Light"/>
                          <a:cs typeface="함초롬돋움"/>
                        </a:rPr>
                        <a:t>처리할 내용</a:t>
                      </a:r>
                      <a:endParaRPr lang="ko-KR" altLang="en-US" sz="2000" b="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  <a:tr h="423536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display_rule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a0b4e6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게임 규칙 안내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a0b4e6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basic_map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바탕이 되는 기본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map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출력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  <a:tr h="681200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make_treasure_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and_bomb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a0b4e6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보물과 폭탄 위치 지정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a0b4e6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gotoxy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커서의 위치제어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display_map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a0b4e6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보물과 폭탄 생성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,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커서 이동시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map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의 문자 변경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(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■ 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-&gt;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□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,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★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,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※</a:t>
                      </a: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)</a:t>
                      </a: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a0b4e6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move_arrow_key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c0cdef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방향키 제어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c0cdef">
                        <a:alpha val="65000"/>
                      </a:srgbClr>
                    </a:solidFill>
                  </a:tcPr>
                </a:tc>
              </a:tr>
              <a:tr h="485114"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en-US" altLang="ko-KR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game_control</a:t>
                      </a:r>
                      <a:endParaRPr lang="en-US" altLang="ko-KR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R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R>
                    <a:solidFill>
                      <a:srgbClr val="a0b4e6">
                        <a:alpha val="65000"/>
                      </a:srgbClr>
                    </a:solidFill>
                  </a:tcPr>
                </a:tc>
                <a:tc>
                  <a:txBody>
                    <a:bodyPr vert="horz" wrap="square" lIns="91440" tIns="45720" rIns="91440" bIns="45720" anchor="ctr" anchorCtr="0">
                      <a:spAutoFit/>
                    </a:bodyPr>
                    <a:p>
                      <a:pPr algn="ctr">
                        <a:defRPr/>
                      </a:pPr>
                      <a:r>
                        <a:rPr lang="ko-KR" altLang="en-US" sz="2000">
                          <a:latin typeface="경기천년제목OTF Light"/>
                          <a:ea typeface="경기천년제목OTF Light"/>
                          <a:cs typeface="함초롬돋움"/>
                        </a:rPr>
                        <a:t>게임에 대한 전반적인 제어 함수</a:t>
                      </a:r>
                      <a:endParaRPr lang="ko-KR" altLang="en-US" sz="2000">
                        <a:latin typeface="경기천년제목OTF Light"/>
                        <a:ea typeface="경기천년제목OTF Light"/>
                        <a:cs typeface="함초롬돋움"/>
                      </a:endParaRPr>
                    </a:p>
                  </a:txBody>
                  <a:tcPr marL="91440" marR="91440" anchor="ctr">
                    <a:lnL w="12700" cap="flat" cmpd="sng" algn="ctr">
                      <a:solidFill>
                        <a:srgbClr val="3057b9"/>
                      </a:solidFill>
                      <a:prstDash val="solid"/>
                      <a:round/>
                      <a:headEnd w="med" len="med"/>
                      <a:tailEnd w="med" len="med"/>
                    </a:lnL>
                    <a:solidFill>
                      <a:srgbClr val="a0b4e6">
                        <a:alpha val="65000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22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5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03</a:t>
            </a:r>
            <a:endParaRPr lang="en-US" altLang="ko-KR" sz="47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11757" y="0"/>
            <a:ext cx="67687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나눔스퀘어라운드OTF Bold"/>
                <a:ea typeface="나눔스퀘어라운드OTF Bold"/>
              </a:rPr>
              <a:t>프로그램 작성과 완성 </a:t>
            </a:r>
            <a:endParaRPr lang="ko-KR" altLang="en-US" sz="4700">
              <a:solidFill>
                <a:schemeClr val="tx1"/>
              </a:solidFill>
              <a:latin typeface="나눔스퀘어라운드OTF Bold"/>
              <a:ea typeface="나눔스퀘어라운드OTF Bold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pic>
        <p:nvPicPr>
          <p:cNvPr id="18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pic>
        <p:nvPicPr>
          <p:cNvPr id="21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351636" y="1124744"/>
            <a:ext cx="6678857" cy="5184576"/>
          </a:xfrm>
          <a:prstGeom prst="rect">
            <a:avLst/>
          </a:prstGeom>
        </p:spPr>
      </p:pic>
      <p:sp>
        <p:nvSpPr>
          <p:cNvPr id="23" name=""/>
          <p:cNvSpPr/>
          <p:nvPr/>
        </p:nvSpPr>
        <p:spPr>
          <a:xfrm>
            <a:off x="611560" y="3140968"/>
            <a:ext cx="6336704" cy="216024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498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4" name=""/>
          <p:cNvSpPr/>
          <p:nvPr/>
        </p:nvSpPr>
        <p:spPr>
          <a:xfrm>
            <a:off x="611560" y="3933056"/>
            <a:ext cx="4464496" cy="1152128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498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5" name=""/>
          <p:cNvSpPr/>
          <p:nvPr/>
        </p:nvSpPr>
        <p:spPr>
          <a:xfrm>
            <a:off x="611560" y="1484784"/>
            <a:ext cx="2520279" cy="144016"/>
          </a:xfrm>
          <a:prstGeom prst="rect">
            <a:avLst/>
          </a:prstGeom>
          <a:noFill/>
          <a:ln w="12700" cap="flat" cmpd="sng" algn="ctr">
            <a:solidFill>
              <a:srgbClr val="ff0000">
                <a:alpha val="49800"/>
              </a:srgbClr>
            </a:solidFill>
            <a:prstDash val="solid"/>
          </a:ln>
        </p:spPr>
        <p:txBody>
          <a:bodyPr anchor="ctr"/>
          <a:p>
            <a:pPr mar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xmlns:mc="http://schemas.openxmlformats.org/markup-compatibility/2006" xmlns:hp="http://schemas.haansoft.com/office/presentation/8.0" kumimoji="0" lang="ko-KR" altLang="en-US" sz="1800" b="0" i="0" u="none" strike="noStrike" kern="1200" cap="none" spc="0" normalizeH="0" baseline="0" mc:Ignorable="hp" hp:hslEmbossed="0">
              <a:solidFill>
                <a:srgbClr val="ffffff"/>
              </a:solidFill>
              <a:latin typeface="맑은 고딕"/>
              <a:ea typeface="맑은 고딕"/>
              <a:cs typeface="맑은 고딕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3" grpId="1" animBg="1"/>
      <p:bldP spid="24" grpId="2" animBg="1"/>
    </p:bldLst>
  </p:timing>
</p:sld>
</file>

<file path=ppt/slides/slide6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03</a:t>
            </a:r>
            <a:endParaRPr lang="en-US" altLang="ko-KR" sz="47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11757" y="0"/>
            <a:ext cx="67687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나눔스퀘어라운드OTF Bold"/>
                <a:ea typeface="나눔스퀘어라운드OTF Bold"/>
              </a:rPr>
              <a:t>프로그램 작성과 완성 </a:t>
            </a:r>
            <a:endParaRPr lang="ko-KR" altLang="en-US" sz="4700">
              <a:solidFill>
                <a:schemeClr val="tx1"/>
              </a:solidFill>
              <a:latin typeface="나눔스퀘어라운드OTF Bold"/>
              <a:ea typeface="나눔스퀘어라운드OTF Bold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pic>
        <p:nvPicPr>
          <p:cNvPr id="18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pic>
        <p:nvPicPr>
          <p:cNvPr id="19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298112" y="1196752"/>
            <a:ext cx="5642039" cy="2664296"/>
          </a:xfrm>
          <a:prstGeom prst="rect">
            <a:avLst/>
          </a:prstGeom>
        </p:spPr>
      </p:pic>
      <p:pic>
        <p:nvPicPr>
          <p:cNvPr id="20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302877" y="4109279"/>
            <a:ext cx="4557155" cy="1767993"/>
          </a:xfrm>
          <a:prstGeom prst="rect">
            <a:avLst/>
          </a:prstGeom>
        </p:spPr>
      </p:pic>
      <p:sp>
        <p:nvSpPr>
          <p:cNvPr id="21" name=""/>
          <p:cNvSpPr txBox="1"/>
          <p:nvPr/>
        </p:nvSpPr>
        <p:spPr>
          <a:xfrm>
            <a:off x="4932040" y="1324789"/>
            <a:ext cx="3960441" cy="448027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  <a:solidFill>
                  <a:srgbClr val="000000"/>
                </a:solidFill>
                <a:latin typeface="경기천년제목OTF Light"/>
                <a:ea typeface="경기천년제목OTF Light"/>
                <a:cs typeface="함초롬돋움"/>
              </a:rPr>
              <a:t> </a:t>
            </a:r>
            <a:endParaRPr xmlns:mc="http://schemas.openxmlformats.org/markup-compatibility/2006" xmlns:hp="http://schemas.haansoft.com/office/presentation/8.0" kumimoji="0" lang="ko-KR" altLang="en-US" sz="2400" b="0" i="0" u="none" strike="noStrike" kern="1200" cap="none" spc="0" normalizeH="0" baseline="0" mc:Ignorable="hp" hp:hslEmbossed="0">
              <a:solidFill>
                <a:srgbClr val="000000"/>
              </a:solidFill>
              <a:latin typeface="경기천년제목OTF Light"/>
              <a:ea typeface="경기천년제목OTF Light"/>
              <a:cs typeface="함초롬돋움"/>
            </a:endParaRPr>
          </a:p>
        </p:txBody>
      </p:sp>
      <p:sp>
        <p:nvSpPr>
          <p:cNvPr id="23" name=""/>
          <p:cNvSpPr/>
          <p:nvPr/>
        </p:nvSpPr>
        <p:spPr>
          <a:xfrm>
            <a:off x="539552" y="3284984"/>
            <a:ext cx="4896544" cy="432048"/>
          </a:xfrm>
          <a:prstGeom prst="rect">
            <a:avLst/>
          </a:prstGeom>
          <a:noFill/>
          <a:ln w="12700">
            <a:solidFill>
              <a:srgbClr val="ff0000">
                <a:alpha val="50000"/>
              </a:srgbClr>
            </a:solidFill>
          </a:ln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ko-KR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7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03</a:t>
            </a:r>
            <a:endParaRPr lang="en-US" altLang="ko-KR" sz="47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11757" y="0"/>
            <a:ext cx="67687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나눔스퀘어라운드OTF Bold"/>
                <a:ea typeface="나눔스퀘어라운드OTF Bold"/>
              </a:rPr>
              <a:t>프로그램 작성과 완성 </a:t>
            </a:r>
            <a:endParaRPr lang="ko-KR" altLang="en-US" sz="4700">
              <a:solidFill>
                <a:schemeClr val="tx1"/>
              </a:solidFill>
              <a:latin typeface="나눔스퀘어라운드OTF Bold"/>
              <a:ea typeface="나눔스퀘어라운드OTF Bold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pic>
        <p:nvPicPr>
          <p:cNvPr id="18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pic>
        <p:nvPicPr>
          <p:cNvPr id="19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323528" y="1241239"/>
            <a:ext cx="7605419" cy="3124471"/>
          </a:xfrm>
          <a:prstGeom prst="rect">
            <a:avLst/>
          </a:prstGeom>
        </p:spPr>
      </p:pic>
      <p:pic>
        <p:nvPicPr>
          <p:cNvPr id="20" name="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323528" y="4625615"/>
            <a:ext cx="5128704" cy="89161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8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03</a:t>
            </a:r>
            <a:endParaRPr lang="en-US" altLang="ko-KR" sz="47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11757" y="0"/>
            <a:ext cx="67687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나눔스퀘어라운드OTF Bold"/>
                <a:ea typeface="나눔스퀘어라운드OTF Bold"/>
              </a:rPr>
              <a:t>프로그램 작성과 완성 </a:t>
            </a:r>
            <a:endParaRPr lang="ko-KR" altLang="en-US" sz="4700">
              <a:solidFill>
                <a:schemeClr val="tx1"/>
              </a:solidFill>
              <a:latin typeface="나눔스퀘어라운드OTF Bold"/>
              <a:ea typeface="나눔스퀘어라운드OTF Bold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pic>
        <p:nvPicPr>
          <p:cNvPr id="18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pic>
        <p:nvPicPr>
          <p:cNvPr id="20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323528" y="1196752"/>
            <a:ext cx="6584250" cy="393988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slides/slide9.xml><?xml version="1.0" encoding="utf-8"?>
<p:sld xmlns:r="http://schemas.openxmlformats.org/officeDocument/2006/relationships" xmlns:c="http://schemas.openxmlformats.org/drawingml/2006/chart" xmlns:a="http://schemas.openxmlformats.org/drawingml/2006/main" xmlns:dgm="http://schemas.openxmlformats.org/drawingml/2006/diagram" xmlns:dsp="http://schemas.microsoft.com/office/drawing/2008/diagram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0"/>
            <a:ext cx="13681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4700">
                <a:solidFill>
                  <a:schemeClr val="tx1"/>
                </a:solidFill>
                <a:latin typeface="Sandoll 고딕NeoRound 05 Md"/>
                <a:ea typeface="Sandoll 고딕NeoRound 05 Md"/>
              </a:rPr>
              <a:t>03</a:t>
            </a:r>
            <a:endParaRPr lang="en-US" altLang="ko-KR" sz="4700">
              <a:solidFill>
                <a:schemeClr val="tx1"/>
              </a:solidFill>
              <a:latin typeface="Sandoll 고딕NeoRound 05 Md"/>
              <a:ea typeface="Sandoll 고딕NeoRound 05 M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11757" y="0"/>
            <a:ext cx="6768752" cy="798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ko-KR" altLang="en-US" sz="4700">
                <a:solidFill>
                  <a:schemeClr val="tx1"/>
                </a:solidFill>
                <a:latin typeface="나눔스퀘어라운드OTF Bold"/>
                <a:ea typeface="나눔스퀘어라운드OTF Bold"/>
              </a:rPr>
              <a:t>프로그램 작성과 완성 </a:t>
            </a:r>
            <a:endParaRPr lang="ko-KR" altLang="en-US" sz="4700">
              <a:solidFill>
                <a:schemeClr val="tx1"/>
              </a:solidFill>
              <a:latin typeface="나눔스퀘어라운드OTF Bold"/>
              <a:ea typeface="나눔스퀘어라운드OTF Bold"/>
            </a:endParaRPr>
          </a:p>
        </p:txBody>
      </p:sp>
      <p:sp>
        <p:nvSpPr>
          <p:cNvPr id="14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2020-10-05</a:t>
            </a:r>
            <a:endParaRPr lang="ko-KR" altLang="en-US"/>
          </a:p>
        </p:txBody>
      </p:sp>
      <p:sp>
        <p:nvSpPr>
          <p:cNvPr id="15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게임프로그래밍</a:t>
            </a:r>
            <a:endParaRPr lang="ko-KR" altLang="en-US"/>
          </a:p>
        </p:txBody>
      </p:sp>
      <p:pic>
        <p:nvPicPr>
          <p:cNvPr id="18" name="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8604448" y="6274759"/>
            <a:ext cx="467544" cy="466609"/>
          </a:xfrm>
          <a:prstGeom prst="rect">
            <a:avLst/>
          </a:prstGeom>
        </p:spPr>
      </p:pic>
      <p:pic>
        <p:nvPicPr>
          <p:cNvPr id="23" name="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323528" y="1219956"/>
            <a:ext cx="6668078" cy="41532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xmlns:mc="http://schemas.openxmlformats.org/markup-compatibility/2006" xmlns:p14="http://schemas.microsoft.com/office/powerpoint/2010/main" mc:Ignorable="p14" p14:dur="500"/>
    </mc:Choice>
    <mc:Fallback>
      <p:transition/>
    </mc:Fallback>
  </mc:AlternateContent>
</p:sld>
</file>

<file path=ppt/theme/theme1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name="한컴오피스">
  <a:themeElements>
    <a:clrScheme name="한컴오피스">
      <a:dk1>
        <a:sysClr val="windowText" lastClr="000000"/>
      </a:dk1>
      <a:lt1>
        <a:sysClr val="window" lastClr="ffffff"/>
      </a:lt1>
      <a:dk2>
        <a:srgbClr val="3a3c84"/>
      </a:dk2>
      <a:lt2>
        <a:srgbClr val="faf3db"/>
      </a:lt2>
      <a:accent1>
        <a:srgbClr val="6182d6"/>
      </a:accent1>
      <a:accent2>
        <a:srgbClr val="ff843a"/>
      </a:accent2>
      <a:accent3>
        <a:srgbClr val="b2b2b2"/>
      </a:accent3>
      <a:accent4>
        <a:srgbClr val="ffd700"/>
      </a:accent4>
      <a:accent5>
        <a:srgbClr val="289b6e"/>
      </a:accent5>
      <a:accent6>
        <a:srgbClr val="9d5cbb"/>
      </a:accent6>
      <a:hlink>
        <a:srgbClr val="0000ff"/>
      </a:hlink>
      <a:folHlink>
        <a:srgbClr val="800080"/>
      </a:folHlink>
    </a:clrScheme>
    <a:fontScheme name="한컴오피스">
      <a:maj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한컴오피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r="http://schemas.openxmlformats.org/officeDocument/2006/relationships" xmlns:c="http://schemas.openxmlformats.org/drawingml/2006/chart" xmlns:dgm="http://schemas.openxmlformats.org/drawingml/2006/diagram" xmlns:dsp="http://schemas.microsoft.com/office/drawing/2008/diagram" xmlns:a="http://schemas.openxmlformats.org/drawingml/2006/main" xmlns:pic="http://schemas.openxmlformats.org/drawingml/2006/picture" xmlns:wp="http://schemas.openxmlformats.org/drawingml/2006/wordprocessingDrawing" xmlns:xdr="http://schemas.openxmlformats.org/drawingml/2006/spreadsheetDrawing" xmlns:lc="http://schemas.openxmlformats.org/drawingml/2006/lockedCanvas" xmlns:p="http://schemas.openxmlformats.org/presentationml/2006/main" name="한컴오피스">
  <a:themeElements>
    <a:clrScheme name="한컴오피스">
      <a:dk1>
        <a:sysClr val="windowText" lastClr="000000"/>
      </a:dk1>
      <a:lt1>
        <a:sysClr val="window" lastClr="ffffff"/>
      </a:lt1>
      <a:dk2>
        <a:srgbClr val="3a3c84"/>
      </a:dk2>
      <a:lt2>
        <a:srgbClr val="faf3db"/>
      </a:lt2>
      <a:accent1>
        <a:srgbClr val="6182d6"/>
      </a:accent1>
      <a:accent2>
        <a:srgbClr val="ff843a"/>
      </a:accent2>
      <a:accent3>
        <a:srgbClr val="b2b2b2"/>
      </a:accent3>
      <a:accent4>
        <a:srgbClr val="ffd700"/>
      </a:accent4>
      <a:accent5>
        <a:srgbClr val="289b6e"/>
      </a:accent5>
      <a:accent6>
        <a:srgbClr val="9d5cbb"/>
      </a:accent6>
      <a:hlink>
        <a:srgbClr val="0000ff"/>
      </a:hlink>
      <a:folHlink>
        <a:srgbClr val="800080"/>
      </a:folHlink>
    </a:clrScheme>
    <a:fontScheme name="한컴오피스">
      <a:maj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Times New Roman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한컴오피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ep:Properties xmlns:r="http://schemas.openxmlformats.org/officeDocument/2006/relationships" xmlns:ep="http://schemas.openxmlformats.org/officeDocument/2006/extended-properties" xmlns:vt="http://schemas.openxmlformats.org/officeDocument/2006/docPropsVTypes">
  <ep:Manager/>
  <ep:Company/>
  <ep:Words>168</ep:Words>
  <ep:PresentationFormat>화면 슬라이드 쇼(4:3)</ep:PresentationFormat>
  <ep:Paragraphs>57</ep:Paragraphs>
  <ep:Slides>12</ep:Slides>
  <ep:Notes>2</ep:Notes>
  <ep:TotalTime>0</ep:TotalTime>
  <ep:HiddenSlides>0</ep:HiddenSlides>
  <ep:MMClips>1</ep:MMClips>
  <ep: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2</vt:i4>
      </vt:variant>
    </vt:vector>
  </ep:HeadingPairs>
  <ep:TitlesOfParts>
    <vt:vector size="13" baseType="lpstr">
      <vt:lpstr>Office 테마</vt:lpstr>
      <vt:lpstr>슬라이드 1</vt:lpstr>
      <vt:lpstr>슬라이드 2</vt:lpstr>
      <vt:lpstr>슬라이드 3</vt:lpstr>
      <vt:lpstr>슬라이드 4</vt:lpstr>
      <vt:lpstr>슬라이드 5</vt:lpstr>
      <vt:lpstr>슬라이드 6</vt:lpstr>
      <vt:lpstr>슬라이드 7</vt:lpstr>
      <vt:lpstr>슬라이드 8</vt:lpstr>
      <vt:lpstr>슬라이드 9</vt:lpstr>
      <vt:lpstr>슬라이드 10</vt:lpstr>
      <vt:lpstr>슬라이드 11</vt:lpstr>
      <vt:lpstr>슬라이드 12</vt:lpstr>
    </vt:vector>
  </ep:TitlesOfParts>
  <ep:HyperlinkBase/>
  <ep:Application>Show</ep:Application>
  <ep:AppVersion>12.0000</ep:AppVersion>
</ep:Properties>
</file>

<file path=docProps/core.xml><?xml version="1.0" encoding="utf-8"?>
<cp:coreProperties xmlns:r="http://schemas.openxmlformats.org/officeDocument/2006/relationships"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0-02-10T03:38:01.000</dcterms:created>
  <dc:creator>최서원</dc:creator>
  <cp:lastModifiedBy>dplqs</cp:lastModifiedBy>
  <dcterms:modified xsi:type="dcterms:W3CDTF">2020-10-03T17:01:53.908</dcterms:modified>
  <cp:revision>87</cp:revision>
  <dc:title>PowerPoint 프레젠테이션</dc:title>
  <cp:version/>
</cp:coreProperties>
</file>